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6" r:id="rId14"/>
    <p:sldId id="282" r:id="rId15"/>
    <p:sldId id="277" r:id="rId16"/>
    <p:sldId id="276" r:id="rId17"/>
    <p:sldId id="278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99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pos="158">
          <p15:clr>
            <a:srgbClr val="A4A3A4"/>
          </p15:clr>
        </p15:guide>
        <p15:guide id="4" pos="4241">
          <p15:clr>
            <a:srgbClr val="A4A3A4"/>
          </p15:clr>
        </p15:guide>
        <p15:guide id="5" pos="4468">
          <p15:clr>
            <a:srgbClr val="A4A3A4"/>
          </p15:clr>
        </p15:guide>
        <p15:guide id="6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howGuides="1">
      <p:cViewPr varScale="1">
        <p:scale>
          <a:sx n="139" d="100"/>
          <a:sy n="139" d="100"/>
        </p:scale>
        <p:origin x="-282" y="-108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441152"/>
        <c:axId val="65467904"/>
      </c:lineChart>
      <c:catAx>
        <c:axId val="654411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65467904"/>
        <c:crosses val="autoZero"/>
        <c:auto val="1"/>
        <c:lblAlgn val="ctr"/>
        <c:lblOffset val="100"/>
        <c:noMultiLvlLbl val="0"/>
      </c:catAx>
      <c:valAx>
        <c:axId val="65467904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65441152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jpe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</p:txBody>
      </p:sp>
      <p:pic>
        <p:nvPicPr>
          <p:cNvPr id="21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U:\Abschlussprojekt v2\Präsentation\img\NestedJs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4224974"/>
            <a:ext cx="2448272" cy="2163994"/>
          </a:xfrm>
          <a:prstGeom prst="rect">
            <a:avLst/>
          </a:prstGeom>
          <a:noFill/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5496" y="1268760"/>
            <a:ext cx="684076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Arten, die der User innerhalb eines Zeitraums besitzt, ab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2B91AF"/>
                </a:solidFill>
                <a:latin typeface="Consolas"/>
              </a:rPr>
              <a:t>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GetReminderTypes?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	+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innerhalb eines Zeitraum und anhand einer bestimmten Art ab</a:t>
            </a:r>
          </a:p>
          <a:p>
            <a:r>
              <a:rPr lang="de-DE" sz="1000" dirty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	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:</a:t>
            </a:r>
            <a:r>
              <a:rPr lang="de-DE" sz="1000" dirty="0" smtClean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s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3377" y="3573016"/>
            <a:ext cx="2126357" cy="271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7" name="Gruppieren 26"/>
          <p:cNvGrpSpPr/>
          <p:nvPr/>
        </p:nvGrpSpPr>
        <p:grpSpPr>
          <a:xfrm>
            <a:off x="4427984" y="4149080"/>
            <a:ext cx="4242131" cy="1666676"/>
            <a:chOff x="4427984" y="4149080"/>
            <a:chExt cx="4242131" cy="1666676"/>
          </a:xfrm>
        </p:grpSpPr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4581128"/>
              <a:ext cx="2657955" cy="12346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" name="Gekrümmte Verbindung 3"/>
            <p:cNvCxnSpPr>
              <a:endCxn id="4100" idx="1"/>
            </p:cNvCxnSpPr>
            <p:nvPr/>
          </p:nvCxnSpPr>
          <p:spPr>
            <a:xfrm>
              <a:off x="4427984" y="4149080"/>
              <a:ext cx="1584176" cy="1049362"/>
            </a:xfrm>
            <a:prstGeom prst="curvedConnector3">
              <a:avLst>
                <a:gd name="adj1" fmla="val 34810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01" name="Picture 5" descr="U:\Abschlussprojekt v2\Dokumentation\BenutzerDoku\ReminderToda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8760"/>
            <a:ext cx="2405706" cy="18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655725" y="4581576"/>
            <a:ext cx="2181523" cy="488676"/>
            <a:chOff x="1022325" y="4092900"/>
            <a:chExt cx="2181523" cy="488676"/>
          </a:xfrm>
        </p:grpSpPr>
        <p:sp>
          <p:nvSpPr>
            <p:cNvPr id="12" name="Textfeld 11"/>
            <p:cNvSpPr txBox="1"/>
            <p:nvPr/>
          </p:nvSpPr>
          <p:spPr>
            <a:xfrm>
              <a:off x="1022325" y="4092900"/>
              <a:ext cx="1008112" cy="4886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Wird bereits bearbeitet</a:t>
              </a:r>
              <a:endParaRPr lang="de-DE" i="1" dirty="0" smtClean="0"/>
            </a:p>
          </p:txBody>
        </p:sp>
        <p:cxnSp>
          <p:nvCxnSpPr>
            <p:cNvPr id="14" name="Gerade Verbindung mit Pfeil 13"/>
            <p:cNvCxnSpPr>
              <a:stCxn id="12" idx="3"/>
            </p:cNvCxnSpPr>
            <p:nvPr/>
          </p:nvCxnSpPr>
          <p:spPr>
            <a:xfrm>
              <a:off x="2030437" y="4337238"/>
              <a:ext cx="1173411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Inhaltsplatzhalter 3"/>
          <p:cNvSpPr>
            <a:spLocks noGrp="1"/>
          </p:cNvSpPr>
          <p:nvPr>
            <p:ph sz="quarter" idx="13"/>
          </p:nvPr>
        </p:nvSpPr>
        <p:spPr>
          <a:xfrm>
            <a:off x="7092950" y="1268413"/>
            <a:ext cx="1800225" cy="5040312"/>
          </a:xfrm>
        </p:spPr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grpSp>
        <p:nvGrpSpPr>
          <p:cNvPr id="28" name="Gruppieren 27"/>
          <p:cNvGrpSpPr/>
          <p:nvPr/>
        </p:nvGrpSpPr>
        <p:grpSpPr>
          <a:xfrm>
            <a:off x="3203848" y="1033756"/>
            <a:ext cx="3561662" cy="3043316"/>
            <a:chOff x="3203848" y="1033756"/>
            <a:chExt cx="3561662" cy="3043316"/>
          </a:xfrm>
        </p:grpSpPr>
        <p:pic>
          <p:nvPicPr>
            <p:cNvPr id="4102" name="Picture 6" descr="U:\Abschlussprojekt v2\Dokumentation\BenutzerDoku\ReminderGrid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848" y="1033756"/>
              <a:ext cx="3561662" cy="2251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" name="Gekrümmte Verbindung 24"/>
            <p:cNvCxnSpPr/>
            <p:nvPr/>
          </p:nvCxnSpPr>
          <p:spPr>
            <a:xfrm rot="5400000" flipH="1" flipV="1">
              <a:off x="4499992" y="3429000"/>
              <a:ext cx="792088" cy="504056"/>
            </a:xfrm>
            <a:prstGeom prst="curvedConnector3">
              <a:avLst>
                <a:gd name="adj1" fmla="val 2261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</a:t>
            </a:r>
            <a:r>
              <a:rPr lang="de-DE" dirty="0" smtClean="0"/>
              <a:t>Repository des Webservice</a:t>
            </a: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Erstellen einer </a:t>
            </a:r>
            <a:r>
              <a:rPr lang="de-DE" dirty="0" err="1" smtClean="0"/>
              <a:t>ParentId</a:t>
            </a:r>
            <a:r>
              <a:rPr lang="de-DE" dirty="0" smtClean="0"/>
              <a:t>/</a:t>
            </a:r>
            <a:r>
              <a:rPr lang="de-DE" dirty="0" err="1" smtClean="0"/>
              <a:t>ArtId</a:t>
            </a:r>
            <a:r>
              <a:rPr lang="de-DE" dirty="0" smtClean="0"/>
              <a:t> um die Gruppierung zu ermöglichen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ethode </a:t>
            </a:r>
            <a:r>
              <a:rPr lang="de-DE" dirty="0" err="1" smtClean="0"/>
              <a:t>GetLatestReminder</a:t>
            </a:r>
            <a:r>
              <a:rPr lang="de-DE" dirty="0" smtClean="0"/>
              <a:t>() im </a:t>
            </a:r>
            <a:r>
              <a:rPr lang="de-DE" dirty="0" err="1" smtClean="0"/>
              <a:t>ReminderController</a:t>
            </a:r>
            <a:r>
              <a:rPr lang="de-DE" dirty="0" smtClean="0"/>
              <a:t> anpassen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in der PL/SQL Funktion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</a:t>
            </a:r>
            <a:r>
              <a:rPr lang="de-DE" dirty="0" smtClean="0"/>
              <a:t>)</a:t>
            </a:r>
          </a:p>
          <a:p>
            <a:pPr marL="465750" lvl="1" indent="-285750"/>
            <a:r>
              <a:rPr lang="de-DE" dirty="0" smtClean="0"/>
              <a:t>Screenshots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94392" y="1088204"/>
            <a:ext cx="4032448" cy="1650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Was sind „</a:t>
            </a:r>
            <a:r>
              <a:rPr lang="de-DE" dirty="0" err="1"/>
              <a:t>Reminder</a:t>
            </a:r>
            <a:r>
              <a:rPr lang="de-DE" dirty="0"/>
              <a:t>“ 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nzeige von </a:t>
            </a:r>
            <a:r>
              <a:rPr lang="de-DE" dirty="0" err="1" smtClean="0"/>
              <a:t>Remindern</a:t>
            </a:r>
            <a:r>
              <a:rPr lang="de-DE" dirty="0" smtClean="0"/>
              <a:t> aus verschiedenen Datenquelle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modular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das Intranet Webportal 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 den Anwender abgestimm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Teilprojekt des gesamten Webprotal-Projekts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5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0477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Lizenzkosten etc.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804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52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762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95505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1692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5€</a:t>
                      </a:r>
                      <a:r>
                        <a:rPr lang="de-DE" baseline="0" dirty="0" smtClean="0"/>
                        <a:t> + 1.506</a:t>
                      </a:r>
                      <a:r>
                        <a:rPr lang="de-DE" dirty="0" smtClean="0"/>
                        <a:t>€ </a:t>
                      </a:r>
                      <a:r>
                        <a:rPr lang="de-DE" smtClean="0"/>
                        <a:t>= 1.981 </a:t>
                      </a:r>
                      <a:r>
                        <a:rPr lang="de-DE" dirty="0" smtClean="0"/>
                        <a:t>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691" y="977443"/>
            <a:ext cx="6481763" cy="1011397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rsparnis pro Tag ab 1200 Mitarbeit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Bei allen 1500 Mitarbeitern = 394€ Ersparnis pro Ta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3345860374"/>
              </p:ext>
            </p:extLst>
          </p:nvPr>
        </p:nvGraphicFramePr>
        <p:xfrm>
          <a:off x="221691" y="1914245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40</Words>
  <Application>Microsoft Office PowerPoint</Application>
  <PresentationFormat>Bildschirmpräsentation (4:3)</PresentationFormat>
  <Paragraphs>396</Paragraphs>
  <Slides>20</Slides>
  <Notes>2</Notes>
  <HiddenSlides>4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Screenshots</vt:lpstr>
      <vt:lpstr>Erweiterbarkeit</vt:lpstr>
      <vt:lpstr>Fazit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Grieger, Niklas</cp:lastModifiedBy>
  <cp:revision>130</cp:revision>
  <cp:lastPrinted>2013-03-21T16:05:01Z</cp:lastPrinted>
  <dcterms:created xsi:type="dcterms:W3CDTF">2017-11-30T08:55:34Z</dcterms:created>
  <dcterms:modified xsi:type="dcterms:W3CDTF">2018-01-02T10:20:43Z</dcterms:modified>
</cp:coreProperties>
</file>